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26"/>
  </p:notesMasterIdLst>
  <p:handoutMasterIdLst>
    <p:handoutMasterId r:id="rId27"/>
  </p:handoutMasterIdLst>
  <p:sldIdLst>
    <p:sldId id="444" r:id="rId3"/>
    <p:sldId id="400" r:id="rId4"/>
    <p:sldId id="496" r:id="rId5"/>
    <p:sldId id="547" r:id="rId6"/>
    <p:sldId id="537" r:id="rId7"/>
    <p:sldId id="477" r:id="rId8"/>
    <p:sldId id="491" r:id="rId9"/>
    <p:sldId id="498" r:id="rId10"/>
    <p:sldId id="425" r:id="rId11"/>
    <p:sldId id="503" r:id="rId12"/>
    <p:sldId id="539" r:id="rId13"/>
    <p:sldId id="504" r:id="rId14"/>
    <p:sldId id="540" r:id="rId15"/>
    <p:sldId id="542" r:id="rId16"/>
    <p:sldId id="541" r:id="rId17"/>
    <p:sldId id="505" r:id="rId18"/>
    <p:sldId id="543" r:id="rId19"/>
    <p:sldId id="506" r:id="rId20"/>
    <p:sldId id="545" r:id="rId21"/>
    <p:sldId id="448" r:id="rId22"/>
    <p:sldId id="489" r:id="rId23"/>
    <p:sldId id="494" r:id="rId24"/>
    <p:sldId id="473" r:id="rId25"/>
  </p:sldIdLst>
  <p:sldSz cx="9144000" cy="6858000" type="screen4x3"/>
  <p:notesSz cx="6797675" cy="9928225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6" userDrawn="1">
          <p15:clr>
            <a:srgbClr val="A4A3A4"/>
          </p15:clr>
        </p15:guide>
        <p15:guide id="2" pos="227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MK" lastIdx="1" clrIdx="0">
    <p:extLst>
      <p:ext uri="{19B8F6BF-5375-455C-9EA6-DF929625EA0E}">
        <p15:presenceInfo xmlns:p15="http://schemas.microsoft.com/office/powerpoint/2012/main" userId="ADD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77" autoAdjust="0"/>
    <p:restoredTop sz="94984" autoAdjust="0"/>
  </p:normalViewPr>
  <p:slideViewPr>
    <p:cSldViewPr snapToGrid="0" showGuides="1">
      <p:cViewPr varScale="1">
        <p:scale>
          <a:sx n="99" d="100"/>
          <a:sy n="99" d="100"/>
        </p:scale>
        <p:origin x="3252" y="72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976" y="102"/>
      </p:cViewPr>
      <p:guideLst>
        <p:guide orient="horz" pos="2996"/>
        <p:guide pos="2274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2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395" tIns="48696" rIns="97395" bIns="4869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7395" tIns="48696" rIns="97395" bIns="486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object 2"/>
          <p:cNvSpPr/>
          <p:nvPr userDrawn="1"/>
        </p:nvSpPr>
        <p:spPr>
          <a:xfrm>
            <a:off x="376238" y="343311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02.11.2022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>
                <a:solidFill>
                  <a:schemeClr val="tx1"/>
                </a:solidFill>
              </a:rPr>
              <a:t>Akvizice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společností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9</a:t>
            </a:r>
            <a:r>
              <a:rPr lang="en-US" sz="650" noProof="0" dirty="0">
                <a:solidFill>
                  <a:schemeClr val="tx1"/>
                </a:solidFill>
              </a:rPr>
              <a:t> Deloitte Legal s.r.o., </a:t>
            </a:r>
            <a:r>
              <a:rPr lang="en-US" sz="650" noProof="0" dirty="0" err="1">
                <a:solidFill>
                  <a:schemeClr val="tx1"/>
                </a:solidFill>
              </a:rPr>
              <a:t>advokátní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kancelář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88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8</a:t>
            </a:r>
            <a:r>
              <a:rPr lang="en-US" sz="650" noProof="0" dirty="0">
                <a:solidFill>
                  <a:schemeClr val="tx1"/>
                </a:solidFill>
              </a:rPr>
              <a:t> Deloitte </a:t>
            </a:r>
            <a:r>
              <a:rPr lang="cs-CZ" sz="650" noProof="0" dirty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>
                <a:solidFill>
                  <a:schemeClr val="tx1"/>
                </a:solidFill>
              </a:rPr>
              <a:t> republika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7AA4043E-8583-583D-08A3-50F859EA0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eminář 3 (</a:t>
            </a:r>
            <a:r>
              <a:rPr lang="cs-CZ" dirty="0" err="1"/>
              <a:t>Due</a:t>
            </a:r>
            <a:r>
              <a:rPr lang="cs-CZ" dirty="0"/>
              <a:t> diligence – 2. část)</a:t>
            </a:r>
          </a:p>
          <a:p>
            <a:r>
              <a:rPr lang="cs-CZ" dirty="0"/>
              <a:t>2.11.2022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B070063-3098-81CD-2036-326C003B7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úze a akvizice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31EF70-BA73-4DE5-FEE5-6FFFEC9E65C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38" y="1519707"/>
            <a:ext cx="7094231" cy="4729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758000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vazkové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6" y="1466082"/>
          <a:ext cx="8371764" cy="24477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4761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ZÁVAZKOVÉ VZTAHY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šeobecné obchodní podmínky, vzorové smlouvy a typizovaná smluvní ujednání či jiné dokumenty (např. výpovědi, zápisy, jiná oznámení, atd.) užívané v obchodních vztazích s odběrateli či dodavatel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 odběrateli či dodavateli obsahující odchylná ujednání od všeobecných obchodních podmínek 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oupis / či jiná evidence obchodních smluv s odběrateli či dodavateli s uvedením hodnoty plně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nespadající do běžného obchodní, např. pořízení či dispozice s dlouhodobým majetkem, zprostředkovatelské smlouvy, smlouvy o obchodním zastoupení, mandátní či komisionářské smlouvy, </a:t>
                      </a:r>
                      <a:r>
                        <a:rPr lang="cs-CZ" sz="1100" dirty="0" err="1">
                          <a:effectLst/>
                        </a:rPr>
                        <a:t>franšízingové</a:t>
                      </a:r>
                      <a:r>
                        <a:rPr lang="cs-CZ" sz="1100" dirty="0">
                          <a:effectLst/>
                        </a:rPr>
                        <a:t> smlouvy, smlouvy o skladování, smlouvy o přepravě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bsahující ustanovení o změně efektivního vedení („change of control clause“) – které bude účinné, pokud se změní vedení nebo společníci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o případném prodlení či jiném porušení závazků ze strany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 sdružení, společném podnikání (“joint-venture”), smlouvy o tichém spoleenství, dohody o mlčenlivosti a další podobná nerutinní ujedná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53171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vazkové vztah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Rámcová kupní smlouva</a:t>
            </a:r>
          </a:p>
          <a:p>
            <a:pPr marL="285750" indent="-285750">
              <a:buFontTx/>
              <a:buChar char="-"/>
            </a:pPr>
            <a:r>
              <a:rPr lang="cs-CZ" dirty="0"/>
              <a:t>Smlouva o poskytování poradenských služeb</a:t>
            </a:r>
          </a:p>
        </p:txBody>
      </p:sp>
    </p:spTree>
    <p:extLst>
      <p:ext uri="{BB962C8B-B14F-4D97-AF65-F5344CB8AC3E}">
        <p14:creationId xmlns:p14="http://schemas.microsoft.com/office/powerpoint/2010/main" val="253197978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inanční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8" y="1408855"/>
          <a:ext cx="8371762" cy="2249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893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FINANČNÍ OBLAST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o výpůjčce, smlouvy o úvěru a obdobné instrumen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zajištění závazků Společnosti nebo o zajištění závazků jiných osob Společností nebo jejím majetke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a listiny vztahující se k finančním instrumentům nebi obchodům Společnosti na kapitálových trzích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dalších finančních ujednáních nebo nástrojích, zejm. akreditivech, vlastních avalovaných či indosovaných směnkách, dluhopisech, hedgingových smlouvách, bankovních zárukách, ujednáních o derivátech, apod.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 bankami či jinými bankovními institucemi vč. běžných účtů, platebních karet a šeků, jiných bankovních produktů, a informace o dispozičních právech k ni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Pojistné smlouvy k majetku Společnosti či pojistným rizikům souvisejícím s její činností (zejm. odpovědnost za škodu, pojištění motorových vozidel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22066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inanč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- </a:t>
            </a:r>
            <a:r>
              <a:rPr lang="cs-CZ" dirty="0" err="1"/>
              <a:t>Loan</a:t>
            </a:r>
            <a:r>
              <a:rPr lang="cs-CZ" dirty="0"/>
              <a:t> </a:t>
            </a:r>
            <a:r>
              <a:rPr lang="cs-CZ" dirty="0" err="1"/>
              <a:t>Agreemen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2842225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acovněpráv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D </a:t>
            </a:r>
            <a:r>
              <a:rPr lang="cs-CZ" dirty="0" err="1"/>
              <a:t>checklist</a:t>
            </a:r>
            <a:endParaRPr lang="cs-CZ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292568" y="2128129"/>
          <a:ext cx="6229350" cy="23807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9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18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1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PRACOVNĚPRÁVNÍ OBLAST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zorové pracovní smlouvy, dohody o pracovní činnosti, dohody o provedení práce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Jiné vzorové pracovněprávní dokumenty (mzdový výměr, dohoda o změně pracovního poměru, dohoda o rozvázání pracovního poměru, výpověď, apod.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Jednotlivé pracovní smlouvy s vrcholovými manažery Společnosti (vedoucími zaměstnanci přímo podřízenými statutárnímu orgánu Společnosti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nitřní předpisy, řády a směrnice pro zaměstnance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Kolektivní smlouva, informace a dokumenty o působení zástupců zaměstnanců (odborová organizace, rada zaměstnanců nebo zástupce pro oblast bezpečnosti a ochrany zdraví při práci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Evidence pracovní doby a práce přesčas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140596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acovněpráv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- Pracovní smlouva</a:t>
            </a:r>
          </a:p>
        </p:txBody>
      </p:sp>
    </p:spTree>
    <p:extLst>
      <p:ext uri="{BB962C8B-B14F-4D97-AF65-F5344CB8AC3E}">
        <p14:creationId xmlns:p14="http://schemas.microsoft.com/office/powerpoint/2010/main" val="3996635595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orná agend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408855"/>
          <a:ext cx="8371761" cy="10559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269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SPORNÁ AGENDA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697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eznam vedených a hrozících soudních nebo rozhodčích sporů s uvedení podstaty věci a její hodno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k vedeným či hrozícím soudním a rozhodčím řízení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o případném insolvenčním a exekučním řízení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69159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orná agend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- Přehled sporné agendy</a:t>
            </a:r>
          </a:p>
        </p:txBody>
      </p:sp>
    </p:spTree>
    <p:extLst>
      <p:ext uri="{BB962C8B-B14F-4D97-AF65-F5344CB8AC3E}">
        <p14:creationId xmlns:p14="http://schemas.microsoft.com/office/powerpoint/2010/main" val="306288841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rávní oblast a správní říz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76238" y="1385127"/>
          <a:ext cx="8371761" cy="20691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1836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SPRÁVNÍ OBLAST A SPRÁVNÍ ŘÍZENÍ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Živnostenská nebo jiná oprávnění k vykonávání činnosti včetně seznamu provozoven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škerá ostatní povolení, registrace, oprávnění, souhlasy nebo licence Společnosti nebo potřebné pro její činnost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o vedených správních řízeních i) neskončených, ii) skončených a nevykonaných, zejm. v oblastech životního prostředí, hospodářské soutěže, ochrany spotřebitele, ochrany osobních údajů, atd., vyjma řízení před správcem daně, správou sociálního zabezpečení a zdravotními pojišťovnam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eznam skončených správních řízení včetně uvedení výsledk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řejnoprávní smlouvy (vztahujících se k plnění veřejnoprávních povinností a/nebo uzavřené se subjektem veřejného práva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přepisy Společnosti týkající se nakládání s osobními údaji a zajištění jejich ochrany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a dokumenty k přijaté veřejné podpoře, zejm. grantům, pobídkám, dotacím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955488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isclosure Letter</a:t>
            </a:r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- Přehled </a:t>
            </a:r>
            <a:r>
              <a:rPr lang="en-US" dirty="0" err="1"/>
              <a:t>dodate</a:t>
            </a:r>
            <a:r>
              <a:rPr lang="cs-CZ" dirty="0" err="1"/>
              <a:t>čných</a:t>
            </a:r>
            <a:r>
              <a:rPr lang="cs-CZ" dirty="0"/>
              <a:t> informací</a:t>
            </a:r>
          </a:p>
        </p:txBody>
      </p:sp>
    </p:spTree>
    <p:extLst>
      <p:ext uri="{BB962C8B-B14F-4D97-AF65-F5344CB8AC3E}">
        <p14:creationId xmlns:p14="http://schemas.microsoft.com/office/powerpoint/2010/main" val="269826117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lvl="1" indent="-228600">
              <a:buFont typeface="+mj-lt"/>
              <a:buAutoNum type="arabicPeriod"/>
            </a:pPr>
            <a:r>
              <a:rPr lang="cs-CZ" sz="1600" b="1" dirty="0"/>
              <a:t>Shrnutí </a:t>
            </a:r>
            <a:r>
              <a:rPr lang="en-US" sz="1600" b="1" dirty="0"/>
              <a:t>p</a:t>
            </a:r>
            <a:r>
              <a:rPr lang="cs-CZ" sz="1600" b="1" dirty="0" err="1"/>
              <a:t>ředchozího</a:t>
            </a:r>
            <a:r>
              <a:rPr lang="cs-CZ" sz="1600" b="1" dirty="0"/>
              <a:t> semináře</a:t>
            </a:r>
          </a:p>
          <a:p>
            <a:pPr marL="228600" lvl="1" indent="-228600">
              <a:buFont typeface="+mj-lt"/>
              <a:buAutoNum type="arabicPeriod"/>
            </a:pPr>
            <a:r>
              <a:rPr lang="cs-CZ" sz="1600" b="1"/>
              <a:t>Due</a:t>
            </a:r>
            <a:r>
              <a:rPr lang="cs-CZ" sz="1600" b="1" dirty="0"/>
              <a:t> Diligence (2. část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Vysvětlení jednotlivých položek </a:t>
            </a:r>
            <a:r>
              <a:rPr lang="cs-CZ" sz="1600" dirty="0" err="1"/>
              <a:t>checklistu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Cvičení pro studenty v jednotlivých kategoriích DD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cs-CZ" sz="1600" dirty="0"/>
              <a:t>Zadání samostatné práce</a:t>
            </a:r>
          </a:p>
        </p:txBody>
      </p:sp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/>
            <a:r>
              <a:rPr lang="cs-CZ" sz="1600" dirty="0"/>
              <a:t>úkol: </a:t>
            </a:r>
          </a:p>
          <a:p>
            <a:pPr marL="285750" lvl="1" indent="-285750"/>
            <a:r>
              <a:rPr lang="cs-CZ" sz="1800" b="1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řipravte koncept non-</a:t>
            </a:r>
            <a:r>
              <a:rPr lang="cs-CZ" sz="1800" b="1" i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olicitation</a:t>
            </a:r>
            <a:r>
              <a:rPr lang="cs-CZ" sz="1800" b="1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klauzule (viz prezentace 2) pro NDA. Formálně jej připravte včetně záhlaví smlouvy (označení smlouvy, stran, popř. uvozující pasáž atd.) a zápatí smlouvy (podpisová pasáž), mezi něž právě vložíte ujednání o závazku non-</a:t>
            </a:r>
            <a:r>
              <a:rPr lang="cs-CZ" sz="1800" b="1" i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olicitation</a:t>
            </a:r>
            <a:r>
              <a:rPr lang="cs-CZ" sz="1800" b="1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Pracujte s definováním vícekrát užitých pojmů pro účely smlouvy a následně užitím jen zkráceného výrazu dle definice.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lvl="1" indent="-285750"/>
            <a:r>
              <a:rPr lang="cs-CZ" sz="1600" dirty="0"/>
              <a:t>rozsah: cca 2 normostrany</a:t>
            </a:r>
          </a:p>
          <a:p>
            <a:pPr marL="357188" lvl="1" indent="-357188"/>
            <a:r>
              <a:rPr lang="cs-CZ" sz="1600" dirty="0"/>
              <a:t>termín odevzdání: nejpozději </a:t>
            </a:r>
            <a:r>
              <a:rPr lang="cs-CZ" sz="1600" b="1" u="sng" dirty="0"/>
              <a:t>v pátek večer před následujícím seminářem</a:t>
            </a:r>
            <a:r>
              <a:rPr lang="cs-CZ" sz="1600" b="1" dirty="0">
                <a:solidFill>
                  <a:srgbClr val="86BC25"/>
                </a:solidFill>
              </a:rPr>
              <a:t> (11.11.2022) </a:t>
            </a:r>
            <a:r>
              <a:rPr lang="cs-CZ" sz="1600" dirty="0"/>
              <a:t>zaslat vypracovaný úkol emailem </a:t>
            </a:r>
            <a:r>
              <a:rPr lang="cs-CZ" sz="1800" dirty="0"/>
              <a:t>(</a:t>
            </a:r>
            <a:r>
              <a:rPr lang="cs-CZ" sz="1600" dirty="0"/>
              <a:t>PŘEDMĚT emailu: Volitelný předmět Fúze a akvizice, TO: </a:t>
            </a:r>
            <a:r>
              <a:rPr lang="cs-CZ" sz="1600" dirty="0">
                <a:hlinkClick r:id="rId2"/>
              </a:rPr>
              <a:t>psuchy@deloitteCE.com</a:t>
            </a:r>
            <a:r>
              <a:rPr lang="cs-CZ" sz="1600" dirty="0"/>
              <a:t>; </a:t>
            </a:r>
            <a:r>
              <a:rPr lang="cs-CZ" sz="1600" dirty="0" err="1">
                <a:hlinkClick r:id="rId3"/>
              </a:rPr>
              <a:t>ivan@telecky.legal</a:t>
            </a:r>
            <a:r>
              <a:rPr lang="cs-CZ" sz="180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I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on-</a:t>
            </a:r>
            <a:r>
              <a:rPr lang="cs-CZ" sz="1400" dirty="0" err="1"/>
              <a:t>solicitation</a:t>
            </a:r>
            <a:r>
              <a:rPr lang="cs-CZ" sz="1400" dirty="0"/>
              <a:t> klauzule – zákaz kontaktovat personál a obchodní partnery:</a:t>
            </a:r>
          </a:p>
          <a:p>
            <a:pPr marL="465750" lvl="1" indent="-285750"/>
            <a:r>
              <a:rPr lang="cs-CZ" sz="1400" dirty="0"/>
              <a:t>s cílem získat informace, nebo</a:t>
            </a:r>
          </a:p>
          <a:p>
            <a:pPr marL="465750" lvl="1" indent="-285750"/>
            <a:r>
              <a:rPr lang="cs-CZ" sz="1400" dirty="0"/>
              <a:t>s nabídkou spolupráce, nebo</a:t>
            </a:r>
          </a:p>
          <a:p>
            <a:pPr marL="465750" lvl="1" indent="-285750"/>
            <a:r>
              <a:rPr lang="cs-CZ" sz="1400" dirty="0"/>
              <a:t>s pobídkou pro ukončení vztahu k poskytující straně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áhrada škody z porušení ND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Smluvní poku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závaznost jednání o transakci a vyloučení předsmluvní odpověd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Trvání NDA</a:t>
            </a:r>
          </a:p>
        </p:txBody>
      </p:sp>
    </p:spTree>
    <p:extLst>
      <p:ext uri="{BB962C8B-B14F-4D97-AF65-F5344CB8AC3E}">
        <p14:creationId xmlns:p14="http://schemas.microsoft.com/office/powerpoint/2010/main" val="4196747643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2054733"/>
          </a:xfrm>
        </p:spPr>
        <p:txBody>
          <a:bodyPr/>
          <a:lstStyle/>
          <a:p>
            <a:pPr algn="ctr"/>
            <a:r>
              <a:rPr lang="cs-CZ" sz="4800" dirty="0"/>
              <a:t>Děkujeme za pozornost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222866"/>
          <a:ext cx="8246513" cy="49693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1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557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0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5162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800" kern="0" dirty="0">
                          <a:effectLst/>
                        </a:rPr>
                        <a:t> </a:t>
                      </a:r>
                      <a:endParaRPr lang="cs-CZ" sz="7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KORPORÁTNÍ OBLAST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 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výpis z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</a:tabLst>
                      </a:pPr>
                      <a:r>
                        <a:rPr lang="cs-CZ" sz="800" dirty="0">
                          <a:effectLst/>
                        </a:rPr>
                        <a:t>Společenská smlouva (zakladatelská listina) o založení Společnosti a její pozdější změn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úplné znění společenské smlouv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tanovy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seznam společníků/akcionářů popř. výpis z evidence cenných papírů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řádných a mimořádných valných hromad od vzniku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jednání orgánů Společnosti (jednatelů, představenstva, dozorčí rady, atd.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Jednací a hlasovací řády orgánů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s orgány/členy orgánů Společnosti (např. smlouvy o výkonu funkce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a dokumenty k vedeným neskončeným rejstříkovým řízením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Podání do sbírky listin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Platné plné moci k zastupování Společnosti včetně případné prokur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Informace o propojených osobách, včetně schéma koncernu, a zprávy o vztazích mezi nimi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1981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mezi Společností a i) jejími společníky, ii) propojenými/koncernovými osobami, zejména ovládací smlouva, smlouva o převodu zisku, smlouvy o převodech majetku, smlouvy o půjčce/úvěru, zajištění závazků, apod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89863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Smlouvy mezi společníky Společnosti navzájem ohledně jejich obchodních podílů/účasti ve Společnosti či výkonu souvisejících práv (např. dohody o výkonu hlasovacích práv)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39636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Veškeré dokumenty o dispozicích s obchodními podíly ve Společnosti – rozdělení, převody, zastavení obchodních podílů Společnosti či zřízení jakýchkoliv práv k nim (souhlasy s rozdělením a převody obchodních podílů, pokud se vyžadují; smlouvy o převodech obchodních podílů; potvrzení o doručení smluv Společnosti); dědění obchodních podílů (veškerá dokumentace k dědění obchodního podílu, pravomocná rozhodnutí příslušného soudu o nabytí dědictví k obchodnímu podílu, apod.)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o případných organizačních složkách/odštěpných závodech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54734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Case study</a:t>
            </a:r>
            <a:endParaRPr lang="cs-CZ" sz="19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5563" y="101494"/>
            <a:ext cx="5606473" cy="6392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84817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Case study</a:t>
            </a:r>
            <a:endParaRPr lang="cs-CZ" sz="19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58" t="752" r="-158" b="37746"/>
          <a:stretch/>
        </p:blipFill>
        <p:spPr>
          <a:xfrm>
            <a:off x="1884219" y="985701"/>
            <a:ext cx="6863781" cy="5357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01471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1705669"/>
            <a:ext cx="8372475" cy="1592403"/>
          </a:xfrm>
        </p:spPr>
        <p:txBody>
          <a:bodyPr/>
          <a:lstStyle/>
          <a:p>
            <a:pPr algn="ctr"/>
            <a:r>
              <a:rPr lang="cs-CZ" sz="4800" dirty="0" err="1"/>
              <a:t>Due</a:t>
            </a:r>
            <a:r>
              <a:rPr lang="cs-CZ" sz="4800" dirty="0"/>
              <a:t> Diligence (2. část)</a:t>
            </a:r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Celkový přehled právní 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600" b="1" dirty="0"/>
              <a:t>Korporátní oblast</a:t>
            </a:r>
          </a:p>
          <a:p>
            <a:pPr marL="285750" indent="-285750">
              <a:buFontTx/>
              <a:buChar char="-"/>
            </a:pPr>
            <a:r>
              <a:rPr lang="cs-CZ" sz="1600" b="1" dirty="0"/>
              <a:t>Majetek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Závazkové vztahy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Finanční oblast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Pracovněprávní oblast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Sporná agenda</a:t>
            </a:r>
          </a:p>
          <a:p>
            <a:pPr marL="285750" indent="-285750">
              <a:buFontTx/>
              <a:buChar char="-"/>
            </a:pPr>
            <a:r>
              <a:rPr lang="cs-CZ" sz="1600" dirty="0">
                <a:solidFill>
                  <a:srgbClr val="FF0000"/>
                </a:solidFill>
              </a:rPr>
              <a:t>Správní oblast a správní řízení</a:t>
            </a:r>
          </a:p>
          <a:p>
            <a:endParaRPr lang="en-US" dirty="0"/>
          </a:p>
        </p:txBody>
      </p:sp>
      <p:pic>
        <p:nvPicPr>
          <p:cNvPr id="33794" name="Picture 2" descr="Image result for checkli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630" y="1531937"/>
            <a:ext cx="4158620" cy="356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593712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9" y="1408855"/>
          <a:ext cx="8371761" cy="31144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58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MAJETEK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Dokumenty prokazující nabývací tituly (např. kupní, darovací a jiné nabývací smlouvy) Společnosti k jejímu majetku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ýpisy z veřejných majetkových registrů (katastr nemovitostí, evidence cenných papírů, další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Nájemní, leasingové a obdobné smlouvy k majetku užívanému Společností, včetně dokumentů prokazujících vlastnické právo pronajímatele / vlastníka odlišného od Společnost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tavební/územní rozhodnutí, kolaudační rozhodnutí k provozovnám a jiným objektů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dokumenty k zástavním právům, věcným břemenům nebo jiným právům třetích osob váznoucím na majetku Společnosti, anebo takovým právům k majetku třetích osob smluveným ve prospěch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Osvědčení, výpis z rejstříku, a jiné dokumenty osvědčující práva Společnosti k předmětům duševního a průmyslového vlastnictví (ochranné známky, patenty, průmyslové vz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cenční a obdobné smlouvy k předmětům duševního a průmyslového vlastnictví (vč. software) potřebného pro podnikání Společnosti, nebo jejichž je Společnost strano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Certifikáty a další dokumentace k internetovým doméná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y k vedeným řízením v oblasti duševního a průmyslového vlastnictví (zejm. přihlášky ochranných známek, sp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89766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	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Nájemní smlouva</a:t>
            </a:r>
          </a:p>
          <a:p>
            <a:pPr marL="285750" indent="-285750">
              <a:buFontTx/>
              <a:buChar char="-"/>
            </a:pPr>
            <a:r>
              <a:rPr lang="cs-CZ" dirty="0"/>
              <a:t>Výpis z KN</a:t>
            </a:r>
          </a:p>
          <a:p>
            <a:pPr marL="285750" indent="-285750">
              <a:buFontTx/>
              <a:buChar char="-"/>
            </a:pPr>
            <a:r>
              <a:rPr lang="cs-CZ" dirty="0"/>
              <a:t>Licenční smlouva</a:t>
            </a:r>
          </a:p>
        </p:txBody>
      </p:sp>
    </p:spTree>
    <p:extLst>
      <p:ext uri="{BB962C8B-B14F-4D97-AF65-F5344CB8AC3E}">
        <p14:creationId xmlns:p14="http://schemas.microsoft.com/office/powerpoint/2010/main" val="30851120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40</TotalTime>
  <Words>1496</Words>
  <Application>Microsoft Office PowerPoint</Application>
  <PresentationFormat>Předvádění na obrazovce (4:3)</PresentationFormat>
  <Paragraphs>262</Paragraphs>
  <Slides>23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0" baseType="lpstr">
      <vt:lpstr>Arial</vt:lpstr>
      <vt:lpstr>Calibri</vt:lpstr>
      <vt:lpstr>Helvetica 45 Light</vt:lpstr>
      <vt:lpstr>Verdana</vt:lpstr>
      <vt:lpstr>Deloitte Presentation Template 2016 ENG</vt:lpstr>
      <vt:lpstr>Deloitte Presentation Template 2016 CZE</vt:lpstr>
      <vt:lpstr>think-cell Slide</vt:lpstr>
      <vt:lpstr>Fúze a akvizice </vt:lpstr>
      <vt:lpstr>Osnova semináře</vt:lpstr>
      <vt:lpstr>Due Diligence Checklist</vt:lpstr>
      <vt:lpstr>Case study</vt:lpstr>
      <vt:lpstr>Case study</vt:lpstr>
      <vt:lpstr>Due Diligence (2. část)</vt:lpstr>
      <vt:lpstr>Due Diligence Checklist</vt:lpstr>
      <vt:lpstr>Due Diligence Checklist</vt:lpstr>
      <vt:lpstr>Due Diligence </vt:lpstr>
      <vt:lpstr>Due Diligence Checklist</vt:lpstr>
      <vt:lpstr>Due Diligence</vt:lpstr>
      <vt:lpstr>Due Diligence Checklist</vt:lpstr>
      <vt:lpstr>Due diligence</vt:lpstr>
      <vt:lpstr>DD checklist</vt:lpstr>
      <vt:lpstr>Due Diligence </vt:lpstr>
      <vt:lpstr>Due Diligence Checklist</vt:lpstr>
      <vt:lpstr>Due Diligence</vt:lpstr>
      <vt:lpstr>Due Diligence Checklist</vt:lpstr>
      <vt:lpstr>Due Diligence</vt:lpstr>
      <vt:lpstr>Prezentace aplikace PowerPoint</vt:lpstr>
      <vt:lpstr>Zadání samostatné práce</vt:lpstr>
      <vt:lpstr>Před-transakční smlouvy v akvizičních transakcích</vt:lpstr>
      <vt:lpstr>Děkujeme za pozornost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Ivan Telecky</cp:lastModifiedBy>
  <cp:revision>112</cp:revision>
  <cp:lastPrinted>2022-10-19T07:29:57Z</cp:lastPrinted>
  <dcterms:created xsi:type="dcterms:W3CDTF">2016-09-26T14:53:58Z</dcterms:created>
  <dcterms:modified xsi:type="dcterms:W3CDTF">2022-11-02T11:18:38Z</dcterms:modified>
</cp:coreProperties>
</file>